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omments/modernComment_13D_4DC85200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2"/>
  </p:sldMasterIdLst>
  <p:notesMasterIdLst>
    <p:notesMasterId r:id="rId14"/>
  </p:notesMasterIdLst>
  <p:sldIdLst>
    <p:sldId id="317" r:id="rId13"/>
  </p:sldIdLst>
  <p:sldSz cx="9144000" cy="5143500" type="screen16x9"/>
  <p:notesSz cx="6858000" cy="9144000"/>
  <p:embeddedFontLst>
    <p:embeddedFont>
      <p:font typeface="Aptos Narrow" panose="020B0004020202020204" pitchFamily="34" charset="0"/>
      <p:regular r:id="rId15"/>
      <p:bold r:id="rId16"/>
      <p:italic r:id="rId17"/>
      <p:boldItalic r:id="rId18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86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91" y="58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font" Target="fonts/font4.fntdata"/><Relationship Id="rId3" Type="http://schemas.openxmlformats.org/officeDocument/2006/relationships/customXml" Target="../customXml/item3.xml"/><Relationship Id="rId89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font" Target="fonts/font3.fntdata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88" Type="http://schemas.openxmlformats.org/officeDocument/2006/relationships/viewProps" Target="viewProps.xml"/><Relationship Id="rId9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87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font" Target="fonts/font1.fntdata"/><Relationship Id="rId90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86" Type="http://customschemas.google.com/relationships/presentationmetadata" Target="meta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notesMaster" Target="notesMasters/notesMaster1.xml"/></Relationships>
</file>

<file path=ppt/comments/modernComment_13D_4DC8520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06CAD63-DF88-499D-91B7-9F1ECCF53EE8}" authorId="{EC28B4B0-6701-2EAD-4AFD-41CFFF8EDE08}" created="2025-05-27T21:18:25.022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04973824" sldId="317"/>
      <ac:graphicFrameMk id="6" creationId="{9051733C-BCB1-72C3-A631-48A16C78A4F8}"/>
    </ac:deMkLst>
    <p188:txBody>
      <a:bodyPr/>
      <a:lstStyle/>
      <a:p>
        <a:r>
          <a:rPr lang="en-US"/>
          <a:t>Standardize color coding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C0532-ADE5-79A1-C4F9-6877826FBB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CC7D19-1984-CC1F-E97A-2413EBEAC7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B677AC-8EC2-8D3F-A5D0-73A985FCC0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C1930-3D42-4706-939A-CF46E42F7BE5}" type="datetimeFigureOut">
              <a:rPr lang="en-US" smtClean="0"/>
              <a:t>9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61D378-69C4-B34C-12CD-99C0A0EDC4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784A49-BB84-69DB-A1E5-07F97CF49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009F9-EE18-4F45-9F2F-57BE853E17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495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69" imgH="469" progId="TCLayout.ActiveDocument.1">
                  <p:embed/>
                </p:oleObj>
              </mc:Choice>
              <mc:Fallback>
                <p:oleObj name="think-cell Slide" r:id="rId1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13D_4DC85200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A4A6BC-5229-6619-95DD-1FB1B9105A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85F6F9-B74B-6C3F-CC39-E2E197A80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ummary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051733C-BCB1-72C3-A631-48A16C78A4F8}"/>
              </a:ext>
            </a:extLst>
          </p:cNvPr>
          <p:cNvGraphicFramePr>
            <a:graphicFrameLocks noGrp="1"/>
          </p:cNvGraphicFramePr>
          <p:nvPr/>
        </p:nvGraphicFramePr>
        <p:xfrm>
          <a:off x="678656" y="1089587"/>
          <a:ext cx="7895212" cy="3794760"/>
        </p:xfrm>
        <a:graphic>
          <a:graphicData uri="http://schemas.openxmlformats.org/drawingml/2006/table">
            <a:tbl>
              <a:tblPr/>
              <a:tblGrid>
                <a:gridCol w="2075927">
                  <a:extLst>
                    <a:ext uri="{9D8B030D-6E8A-4147-A177-3AD203B41FA5}">
                      <a16:colId xmlns:a16="http://schemas.microsoft.com/office/drawing/2014/main" val="1360954181"/>
                    </a:ext>
                  </a:extLst>
                </a:gridCol>
                <a:gridCol w="1024721">
                  <a:extLst>
                    <a:ext uri="{9D8B030D-6E8A-4147-A177-3AD203B41FA5}">
                      <a16:colId xmlns:a16="http://schemas.microsoft.com/office/drawing/2014/main" val="4010982194"/>
                    </a:ext>
                  </a:extLst>
                </a:gridCol>
                <a:gridCol w="855500">
                  <a:extLst>
                    <a:ext uri="{9D8B030D-6E8A-4147-A177-3AD203B41FA5}">
                      <a16:colId xmlns:a16="http://schemas.microsoft.com/office/drawing/2014/main" val="1507754549"/>
                    </a:ext>
                  </a:extLst>
                </a:gridCol>
                <a:gridCol w="893105">
                  <a:extLst>
                    <a:ext uri="{9D8B030D-6E8A-4147-A177-3AD203B41FA5}">
                      <a16:colId xmlns:a16="http://schemas.microsoft.com/office/drawing/2014/main" val="3038534015"/>
                    </a:ext>
                  </a:extLst>
                </a:gridCol>
                <a:gridCol w="1024721">
                  <a:extLst>
                    <a:ext uri="{9D8B030D-6E8A-4147-A177-3AD203B41FA5}">
                      <a16:colId xmlns:a16="http://schemas.microsoft.com/office/drawing/2014/main" val="2165862315"/>
                    </a:ext>
                  </a:extLst>
                </a:gridCol>
                <a:gridCol w="1024721">
                  <a:extLst>
                    <a:ext uri="{9D8B030D-6E8A-4147-A177-3AD203B41FA5}">
                      <a16:colId xmlns:a16="http://schemas.microsoft.com/office/drawing/2014/main" val="3719250536"/>
                    </a:ext>
                  </a:extLst>
                </a:gridCol>
                <a:gridCol w="996517">
                  <a:extLst>
                    <a:ext uri="{9D8B030D-6E8A-4147-A177-3AD203B41FA5}">
                      <a16:colId xmlns:a16="http://schemas.microsoft.com/office/drawing/2014/main" val="1047633702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buClr>
                          <a:srgbClr val="000000"/>
                        </a:buClr>
                        <a:buSzPts val="1100"/>
                        <a:buFont typeface="Aptos Narrow" panose="020B0004020202020204" pitchFamily="34" charset="0"/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otential problem</a:t>
                      </a:r>
                    </a:p>
                  </a:txBody>
                  <a:tcPr marL="34290" marR="34290" marT="34290" marB="3429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iedmon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rshfield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ethodis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hristiana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akemed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ulticare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956382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>
                        <a:buClr>
                          <a:srgbClr val="000000"/>
                        </a:buClr>
                        <a:buSzPts val="1100"/>
                        <a:buFont typeface="Aptos Narrow" panose="020B0004020202020204" pitchFamily="34" charset="0"/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sufficient problem description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F2D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1716305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accurate problem coding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44484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sufficient resolution description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09454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accurate resolution coding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F2D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8266712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O closed right after opening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F2D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, but mainly because of after-hours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841195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 part number in WO needing parts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F2D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79683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accurate downtime impac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918427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ow remote fix rate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756887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ow fix right first time rate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611480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WO’s transferred to other techs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115787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M takes longer than estimated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556952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te/time of service not recorded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996441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abor cost not recorded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281005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arts cost not recorded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  <a:endPara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t a problem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No data yet</a:t>
                      </a:r>
                    </a:p>
                  </a:txBody>
                  <a:tcPr marL="34290" marR="3429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3265441"/>
                  </a:ext>
                </a:extLst>
              </a:tr>
            </a:tbl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08A7218-AE2F-969B-D6D8-4500157F6DB5}"/>
              </a:ext>
            </a:extLst>
          </p:cNvPr>
          <p:cNvCxnSpPr>
            <a:cxnSpLocks/>
          </p:cNvCxnSpPr>
          <p:nvPr/>
        </p:nvCxnSpPr>
        <p:spPr>
          <a:xfrm>
            <a:off x="2828925" y="4735815"/>
            <a:ext cx="2557463" cy="0"/>
          </a:xfrm>
          <a:prstGeom prst="line">
            <a:avLst/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A8184BC-F3B4-F727-1EA7-F3C69D64DF37}"/>
              </a:ext>
            </a:extLst>
          </p:cNvPr>
          <p:cNvCxnSpPr>
            <a:cxnSpLocks/>
          </p:cNvCxnSpPr>
          <p:nvPr/>
        </p:nvCxnSpPr>
        <p:spPr>
          <a:xfrm>
            <a:off x="5618560" y="4735815"/>
            <a:ext cx="1907381" cy="0"/>
          </a:xfrm>
          <a:prstGeom prst="line">
            <a:avLst/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F05C1D2-00F8-919D-65B7-66B497FFA0A4}"/>
              </a:ext>
            </a:extLst>
          </p:cNvPr>
          <p:cNvCxnSpPr>
            <a:cxnSpLocks/>
          </p:cNvCxnSpPr>
          <p:nvPr/>
        </p:nvCxnSpPr>
        <p:spPr>
          <a:xfrm>
            <a:off x="7693819" y="4735815"/>
            <a:ext cx="821531" cy="0"/>
          </a:xfrm>
          <a:prstGeom prst="line">
            <a:avLst/>
          </a:prstGeom>
          <a:ln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B01B9A1-0A3E-5774-2202-E9D5FFF4E1FE}"/>
              </a:ext>
            </a:extLst>
          </p:cNvPr>
          <p:cNvCxnSpPr>
            <a:cxnSpLocks/>
          </p:cNvCxnSpPr>
          <p:nvPr/>
        </p:nvCxnSpPr>
        <p:spPr>
          <a:xfrm>
            <a:off x="7599164" y="4660091"/>
            <a:ext cx="0" cy="13716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B6C61F8-29DB-864F-7F68-3F804C971CFC}"/>
              </a:ext>
            </a:extLst>
          </p:cNvPr>
          <p:cNvCxnSpPr>
            <a:cxnSpLocks/>
          </p:cNvCxnSpPr>
          <p:nvPr/>
        </p:nvCxnSpPr>
        <p:spPr>
          <a:xfrm>
            <a:off x="5523905" y="4660091"/>
            <a:ext cx="0" cy="13716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9BF46BD0-69C6-4A3A-3756-48AA32034D97}"/>
              </a:ext>
            </a:extLst>
          </p:cNvPr>
          <p:cNvSpPr txBox="1"/>
          <p:nvPr/>
        </p:nvSpPr>
        <p:spPr>
          <a:xfrm>
            <a:off x="2736056" y="4797251"/>
            <a:ext cx="2557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/>
              <a:t>Asked customers to add missing data / alternative field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8CE0D4A-BCEE-32F6-73C5-70C272DECBB7}"/>
              </a:ext>
            </a:extLst>
          </p:cNvPr>
          <p:cNvSpPr txBox="1"/>
          <p:nvPr/>
        </p:nvSpPr>
        <p:spPr>
          <a:xfrm>
            <a:off x="5523905" y="4797251"/>
            <a:ext cx="20752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/>
              <a:t>Asked PS to get missing data from Nuvol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D876A40-AF46-3D1B-2C29-8240302601F6}"/>
              </a:ext>
            </a:extLst>
          </p:cNvPr>
          <p:cNvSpPr txBox="1"/>
          <p:nvPr/>
        </p:nvSpPr>
        <p:spPr>
          <a:xfrm>
            <a:off x="7672387" y="4797251"/>
            <a:ext cx="96440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/>
              <a:t>Asked customer for incident data</a:t>
            </a:r>
          </a:p>
        </p:txBody>
      </p:sp>
    </p:spTree>
    <p:extLst>
      <p:ext uri="{BB962C8B-B14F-4D97-AF65-F5344CB8AC3E}">
        <p14:creationId xmlns:p14="http://schemas.microsoft.com/office/powerpoint/2010/main" val="130497382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11.xml><?xml version="1.0" encoding="utf-8"?>
<ds:datastoreItem xmlns:ds="http://schemas.openxmlformats.org/officeDocument/2006/customXml" ds:itemID="{DB1E1136-2223-42ED-AAE3-20616601E6F8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E23B069F-071A-4D48-96A2-533991D8037B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1</TotalTime>
  <Words>301</Words>
  <Application>Microsoft Office PowerPoint</Application>
  <PresentationFormat>On-screen Show (16:9)</PresentationFormat>
  <Paragraphs>10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ptos Narrow</vt:lpstr>
      <vt:lpstr>Arial</vt:lpstr>
      <vt:lpstr>1_Simple Light</vt:lpstr>
      <vt:lpstr>think-cell Slide</vt:lpstr>
      <vt:lpstr>Summa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36</cp:revision>
  <dcterms:modified xsi:type="dcterms:W3CDTF">2025-09-24T16:36:48Z</dcterms:modified>
</cp:coreProperties>
</file>